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82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596" y="142852"/>
            <a:ext cx="8572560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2023 ГОД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2" y="1078386"/>
            <a:ext cx="2352558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275857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Петровск-Забайкальский район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ернышевский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Петровск-Забайкальский, г.Чита,                             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138</Words>
  <Application>Microsoft Office PowerPoint</Application>
  <PresentationFormat>Экран (4:3)</PresentationFormat>
  <Paragraphs>34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РЕЙТИНГ МУНИЦИПАЛЬНЫХ ОБРАЗОВАНИЙ ПО УРОВНЮ ОТКРЫТОСТИ БЮДЖЕТНЫХ ДАННЫХ ЗА 2023 ГОД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</cp:lastModifiedBy>
  <cp:revision>17</cp:revision>
  <cp:lastPrinted>2023-06-08T02:51:56Z</cp:lastPrinted>
  <dcterms:created xsi:type="dcterms:W3CDTF">2022-06-27T05:53:54Z</dcterms:created>
  <dcterms:modified xsi:type="dcterms:W3CDTF">2025-02-27T03:06:25Z</dcterms:modified>
</cp:coreProperties>
</file>